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ETTERSSON | Studia Ingénierie" userId="78942985-7c7f-45cd-9240-8ec9f4102ab7" providerId="ADAL" clId="{A54700F8-5672-48BD-A054-C58BDAAF6137}"/>
    <pc:docChg chg="undo custSel modSld">
      <pc:chgData name="Maria PETTERSSON | Studia Ingénierie" userId="78942985-7c7f-45cd-9240-8ec9f4102ab7" providerId="ADAL" clId="{A54700F8-5672-48BD-A054-C58BDAAF6137}" dt="2020-03-18T09:09:19.405" v="10" actId="255"/>
      <pc:docMkLst>
        <pc:docMk/>
      </pc:docMkLst>
      <pc:sldChg chg="modSp mod">
        <pc:chgData name="Maria PETTERSSON | Studia Ingénierie" userId="78942985-7c7f-45cd-9240-8ec9f4102ab7" providerId="ADAL" clId="{A54700F8-5672-48BD-A054-C58BDAAF6137}" dt="2020-03-18T09:09:19.405" v="10" actId="255"/>
        <pc:sldMkLst>
          <pc:docMk/>
          <pc:sldMk cId="1086636839" sldId="290"/>
        </pc:sldMkLst>
        <pc:spChg chg="mod">
          <ac:chgData name="Maria PETTERSSON | Studia Ingénierie" userId="78942985-7c7f-45cd-9240-8ec9f4102ab7" providerId="ADAL" clId="{A54700F8-5672-48BD-A054-C58BDAAF6137}" dt="2020-03-18T09:09:05.789" v="9" actId="255"/>
          <ac:spMkLst>
            <pc:docMk/>
            <pc:sldMk cId="1086636839" sldId="290"/>
            <ac:spMk id="7" creationId="{00000000-0000-0000-0000-000000000000}"/>
          </ac:spMkLst>
        </pc:spChg>
        <pc:spChg chg="mod">
          <ac:chgData name="Maria PETTERSSON | Studia Ingénierie" userId="78942985-7c7f-45cd-9240-8ec9f4102ab7" providerId="ADAL" clId="{A54700F8-5672-48BD-A054-C58BDAAF6137}" dt="2020-03-18T09:09:19.405" v="10" actId="255"/>
          <ac:spMkLst>
            <pc:docMk/>
            <pc:sldMk cId="1086636839" sldId="290"/>
            <ac:spMk id="18" creationId="{E1CCA77F-D1E4-47D1-B633-D8475FD179AE}"/>
          </ac:spMkLst>
        </pc:spChg>
        <pc:spChg chg="mod">
          <ac:chgData name="Maria PETTERSSON | Studia Ingénierie" userId="78942985-7c7f-45cd-9240-8ec9f4102ab7" providerId="ADAL" clId="{A54700F8-5672-48BD-A054-C58BDAAF6137}" dt="2020-03-18T09:08:51.956" v="8" actId="255"/>
          <ac:spMkLst>
            <pc:docMk/>
            <pc:sldMk cId="1086636839" sldId="290"/>
            <ac:spMk id="19" creationId="{4EA5462B-0910-44FC-8FE0-7C4642E80D4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 dirty="0"/>
              <a:t>Aumente la seguridad de su equip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es-ES" dirty="0"/>
              <a:t>Barrera de luz de seguridad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sz="800"/>
              <a:t>Valor: Seguridad y ergonomía, obsolescencia, eficiencia </a:t>
            </a:r>
          </a:p>
          <a:p>
            <a:r>
              <a:rPr lang="es-ES" sz="800"/>
              <a:t>Equipo: Packing Corcelles</a:t>
            </a:r>
          </a:p>
          <a:p>
            <a:r>
              <a:rPr lang="es-ES" sz="800"/>
              <a:t>Código de catálogo: CLC-04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s-ES" sz="1200" b="1" dirty="0"/>
              <a:t>Eficienci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Reducción de los paros de la línea al mínimo imprescindible.</a:t>
            </a:r>
          </a:p>
          <a:p>
            <a:pPr>
              <a:buClr>
                <a:schemeClr val="accent4"/>
              </a:buClr>
            </a:pPr>
            <a:endParaRPr lang="en-US" sz="800" b="1" dirty="0"/>
          </a:p>
          <a:p>
            <a:pPr>
              <a:buClr>
                <a:schemeClr val="accent4"/>
              </a:buClr>
            </a:pPr>
            <a:r>
              <a:rPr lang="es-ES" sz="1200" b="1" dirty="0"/>
              <a:t>Seguridad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Cumplimiento de los más recientes estándares de segurida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893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 err="1"/>
              <a:t>Sustitución</a:t>
            </a:r>
            <a:r>
              <a:rPr lang="en-GB" sz="1200" dirty="0"/>
              <a:t> de </a:t>
            </a:r>
            <a:r>
              <a:rPr lang="en-GB" sz="1200" dirty="0" err="1"/>
              <a:t>fotocélulas</a:t>
            </a:r>
            <a:r>
              <a:rPr lang="en-GB" sz="1200" dirty="0"/>
              <a:t> </a:t>
            </a:r>
            <a:r>
              <a:rPr lang="en-GB" sz="1200" dirty="0" err="1"/>
              <a:t>obsoletas</a:t>
            </a:r>
            <a:r>
              <a:rPr lang="en-GB" sz="1200" dirty="0"/>
              <a:t> por una </a:t>
            </a:r>
            <a:r>
              <a:rPr lang="en-GB" sz="1200" dirty="0" err="1"/>
              <a:t>barrera</a:t>
            </a:r>
            <a:r>
              <a:rPr lang="en-GB" sz="1200" dirty="0"/>
              <a:t> de </a:t>
            </a:r>
            <a:r>
              <a:rPr lang="en-GB" sz="1200" dirty="0" err="1"/>
              <a:t>seguridad</a:t>
            </a:r>
            <a:r>
              <a:rPr lang="en-GB" sz="1200" dirty="0"/>
              <a:t> </a:t>
            </a:r>
            <a:r>
              <a:rPr lang="en-GB" sz="1200" dirty="0" err="1"/>
              <a:t>ligera</a:t>
            </a:r>
            <a:endParaRPr lang="en-GB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Sistema de </a:t>
            </a:r>
            <a:r>
              <a:rPr lang="en-GB" sz="1200" dirty="0" err="1"/>
              <a:t>última</a:t>
            </a:r>
            <a:r>
              <a:rPr lang="en-GB" sz="1200" dirty="0"/>
              <a:t> </a:t>
            </a:r>
            <a:r>
              <a:rPr lang="en-GB" sz="1200" dirty="0" err="1"/>
              <a:t>generación</a:t>
            </a:r>
            <a:endParaRPr lang="es-ES" sz="1200" dirty="0"/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s-ES" sz="1000" b="1" dirty="0">
                <a:solidFill>
                  <a:srgbClr val="FFFFFF"/>
                </a:solidFill>
                <a:ea typeface="MS PGothic" pitchFamily="34" charset="-128"/>
              </a:rPr>
              <a:t>Antes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666452" y="3397798"/>
            <a:ext cx="704348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s-ES" sz="1000" b="1" spc="-20" dirty="0">
                <a:solidFill>
                  <a:srgbClr val="FFFFFF"/>
                </a:solidFill>
                <a:ea typeface="MS PGothic" pitchFamily="34" charset="-128"/>
              </a:rPr>
              <a:t>Después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9939" y="3395521"/>
            <a:ext cx="2610843" cy="2279758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295" y="3395521"/>
            <a:ext cx="3047656" cy="228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01AF61-DE1B-448B-9EDF-0488DD28E3D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8D4147-5D3F-47A8-B339-6F2C045C2DB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7334151-70A0-4CCA-A4A4-F31A1B0CAE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36</TotalTime>
  <Words>71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la seguridad de su equipo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9</cp:revision>
  <dcterms:created xsi:type="dcterms:W3CDTF">2020-01-31T15:25:02Z</dcterms:created>
  <dcterms:modified xsi:type="dcterms:W3CDTF">2020-03-24T14:4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